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6"/>
  </p:notesMasterIdLst>
  <p:sldIdLst>
    <p:sldId id="256" r:id="rId2"/>
    <p:sldId id="272" r:id="rId3"/>
    <p:sldId id="258" r:id="rId4"/>
    <p:sldId id="270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Proxima Nova" panose="020B0604020202020204" charset="0"/>
      <p:regular r:id="rId21"/>
      <p:bold r:id="rId22"/>
      <p:italic r:id="rId23"/>
      <p:boldItalic r:id="rId24"/>
    </p:embeddedFont>
    <p:embeddedFont>
      <p:font typeface="Roboto" panose="020B0604020202020204" charset="0"/>
      <p:regular r:id="rId25"/>
      <p:bold r:id="rId26"/>
      <p:italic r:id="rId27"/>
      <p:boldItalic r:id="rId28"/>
    </p:embeddedFont>
    <p:embeddedFont>
      <p:font typeface="Roboto Thin" panose="020B060402020202020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21" Type="http://schemas.openxmlformats.org/officeDocument/2006/relationships/font" Target="fonts/font5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c6f8bada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c6f8bada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acc7ebd9c3_2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acc7ebd9c3_2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iam: While looking at our interaction variable here we see the isolated effect in gun legislation is 0.08596.</a:t>
            </a: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acc7ebd9c3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0" name="Google Shape;170;gacc7ebd9c3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acc7ebd9c3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0" name="Google Shape;180;gacc7ebd9c3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acc7ebd9c3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acc7ebd9c3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Brandon, once again here, the r squared value was very low, but can still interpret the coefficients, results are similar to prior model in which we saw a slight increase in victim count due to legislation change. Based off our two models ,   the hypothesis that easier gun access will lead to more victims is supported. </a:t>
            </a: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acc7ebd9c3_0_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acc7ebd9c3_0_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2544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a2154d2c7f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a2154d2c7f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059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a2154d2c7f_0_4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Google Shape;112;ga2154d2c7f_0_4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gacc7ebd9c3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" name="Google Shape;128;gacc7ebd9c3_2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a2154d2c7f_0_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a2154d2c7f_0_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gc6f8badac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8" name="Google Shape;148;gc6f8badac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oogle Shape;10;p2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510450" y="1257300"/>
            <a:ext cx="8123100" cy="1588500"/>
          </a:xfrm>
          <a:prstGeom prst="rect">
            <a:avLst/>
          </a:prstGeom>
          <a:ln w="9525" cap="flat" cmpd="sng">
            <a:solidFill>
              <a:srgbClr val="07376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36475" y="3021813"/>
            <a:ext cx="8123100" cy="6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1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title" hasCustomPrompt="1"/>
          </p:nvPr>
        </p:nvSpPr>
        <p:spPr>
          <a:xfrm>
            <a:off x="311700" y="991475"/>
            <a:ext cx="8520600" cy="191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9pPr>
          </a:lstStyle>
          <a:p>
            <a:r>
              <a:t>xx%</a:t>
            </a:r>
          </a:p>
        </p:txBody>
      </p:sp>
      <p:sp>
        <p:nvSpPr>
          <p:cNvPr id="51" name="Google Shape;51;p11"/>
          <p:cNvSpPr txBox="1">
            <a:spLocks noGrp="1"/>
          </p:cNvSpPr>
          <p:nvPr>
            <p:ph type="body" idx="1"/>
          </p:nvPr>
        </p:nvSpPr>
        <p:spPr>
          <a:xfrm>
            <a:off x="311700" y="3071300"/>
            <a:ext cx="8520600" cy="90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oogle Shape;15;p3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510450" y="2057400"/>
            <a:ext cx="8123100" cy="77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7975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9"/>
          <p:cNvSpPr/>
          <p:nvPr/>
        </p:nvSpPr>
        <p:spPr>
          <a:xfrm>
            <a:off x="4769825" y="75"/>
            <a:ext cx="4374000" cy="51435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0" name="Google Shape;40;p9"/>
          <p:cNvCxnSpPr/>
          <p:nvPr/>
        </p:nvCxnSpPr>
        <p:spPr>
          <a:xfrm>
            <a:off x="5029675" y="4495500"/>
            <a:ext cx="468300" cy="0"/>
          </a:xfrm>
          <a:prstGeom prst="straightConnector1">
            <a:avLst/>
          </a:prstGeom>
          <a:noFill/>
          <a:ln w="19050" cap="flat" cmpd="sng">
            <a:solidFill>
              <a:srgbClr val="F1C23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41;p9"/>
          <p:cNvSpPr txBox="1">
            <a:spLocks noGrp="1"/>
          </p:cNvSpPr>
          <p:nvPr>
            <p:ph type="title"/>
          </p:nvPr>
        </p:nvSpPr>
        <p:spPr>
          <a:xfrm>
            <a:off x="265500" y="1205825"/>
            <a:ext cx="4045200" cy="15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34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"/>
          <p:cNvSpPr txBox="1">
            <a:spLocks noGrp="1"/>
          </p:cNvSpPr>
          <p:nvPr>
            <p:ph type="body" idx="1"/>
          </p:nvPr>
        </p:nvSpPr>
        <p:spPr>
          <a:xfrm>
            <a:off x="311700" y="4236825"/>
            <a:ext cx="5998800" cy="59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pearmint">
    <p:bg>
      <p:bgPr>
        <a:solidFill>
          <a:srgbClr val="EFEFE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67779E-F9BA-417E-B59E-5BCA01F2E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01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8" imgH="278" progId="TCLayout.ActiveDocument.1">
                  <p:embed/>
                </p:oleObj>
              </mc:Choice>
              <mc:Fallback>
                <p:oleObj name="think-cell Slide" r:id="rId1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157990" y="1717149"/>
            <a:ext cx="8123100" cy="6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990000"/>
                </a:solidFill>
              </a:rPr>
              <a:t>23 November 2020</a:t>
            </a:r>
            <a:endParaRPr b="1" dirty="0">
              <a:solidFill>
                <a:srgbClr val="990000"/>
              </a:solidFill>
            </a:endParaRPr>
          </a:p>
        </p:txBody>
      </p:sp>
      <p:sp>
        <p:nvSpPr>
          <p:cNvPr id="60" name="Google Shape;60;p13"/>
          <p:cNvSpPr txBox="1"/>
          <p:nvPr/>
        </p:nvSpPr>
        <p:spPr>
          <a:xfrm>
            <a:off x="99925" y="196342"/>
            <a:ext cx="7996200" cy="14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cealed Carry </a:t>
            </a:r>
            <a:r>
              <a:rPr lang="en" sz="40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</a:t>
            </a:r>
            <a:endParaRPr sz="40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61" name="Google Shape;61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262675" y="2778125"/>
            <a:ext cx="3024201" cy="302420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127775" y="3890250"/>
            <a:ext cx="1481100" cy="1481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82;p14">
            <a:extLst>
              <a:ext uri="{FF2B5EF4-FFF2-40B4-BE49-F238E27FC236}">
                <a16:creationId xmlns:a16="http://schemas.microsoft.com/office/drawing/2014/main" id="{CE25A03A-48CC-4136-A741-D14547D1AF3F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438147" y="323575"/>
            <a:ext cx="1351200" cy="13512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7" name="Google Shape;73;p14">
            <a:extLst>
              <a:ext uri="{FF2B5EF4-FFF2-40B4-BE49-F238E27FC236}">
                <a16:creationId xmlns:a16="http://schemas.microsoft.com/office/drawing/2014/main" id="{7263F828-C554-4D46-9EF0-F00F1110DFB9}"/>
              </a:ext>
            </a:extLst>
          </p:cNvPr>
          <p:cNvSpPr txBox="1">
            <a:spLocks/>
          </p:cNvSpPr>
          <p:nvPr/>
        </p:nvSpPr>
        <p:spPr>
          <a:xfrm>
            <a:off x="7218997" y="1686467"/>
            <a:ext cx="17895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 algn="ctr">
              <a:spcAft>
                <a:spcPts val="1600"/>
              </a:spcAft>
              <a:buFont typeface="Proxima Nova"/>
              <a:buNone/>
            </a:pPr>
            <a:r>
              <a:rPr lang="en-US" sz="1300" dirty="0">
                <a:solidFill>
                  <a:schemeClr val="dk1"/>
                </a:solidFill>
              </a:rPr>
              <a:t>Amit Gottipati</a:t>
            </a:r>
          </a:p>
        </p:txBody>
      </p:sp>
      <p:cxnSp>
        <p:nvCxnSpPr>
          <p:cNvPr id="8" name="Google Shape;79;p14">
            <a:extLst>
              <a:ext uri="{FF2B5EF4-FFF2-40B4-BE49-F238E27FC236}">
                <a16:creationId xmlns:a16="http://schemas.microsoft.com/office/drawing/2014/main" id="{5979C0E3-4E2A-49D1-9C0E-AC75D40C2E26}"/>
              </a:ext>
            </a:extLst>
          </p:cNvPr>
          <p:cNvCxnSpPr/>
          <p:nvPr/>
        </p:nvCxnSpPr>
        <p:spPr>
          <a:xfrm>
            <a:off x="7767025" y="2059928"/>
            <a:ext cx="658200" cy="12600"/>
          </a:xfrm>
          <a:prstGeom prst="straightConnector1">
            <a:avLst/>
          </a:prstGeom>
          <a:noFill/>
          <a:ln w="38100" cap="flat" cmpd="sng">
            <a:solidFill>
              <a:srgbClr val="F1C23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21"/>
          <p:cNvSpPr txBox="1"/>
          <p:nvPr/>
        </p:nvSpPr>
        <p:spPr>
          <a:xfrm>
            <a:off x="1296150" y="3392525"/>
            <a:ext cx="6551700" cy="58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990000"/>
                </a:solidFill>
              </a:rPr>
              <a:t>Based on the results above</a:t>
            </a:r>
            <a:r>
              <a:rPr lang="en" b="1">
                <a:solidFill>
                  <a:srgbClr val="990000"/>
                </a:solidFill>
              </a:rPr>
              <a:t>, the isolated effect </a:t>
            </a:r>
            <a:r>
              <a:rPr lang="en">
                <a:solidFill>
                  <a:srgbClr val="990000"/>
                </a:solidFill>
              </a:rPr>
              <a:t>of change in legislation from no issue to shall issue is an increase in average victim count of </a:t>
            </a:r>
            <a:br>
              <a:rPr lang="en">
                <a:solidFill>
                  <a:srgbClr val="990000"/>
                </a:solidFill>
              </a:rPr>
            </a:br>
            <a:r>
              <a:rPr lang="en" b="1">
                <a:solidFill>
                  <a:srgbClr val="990000"/>
                </a:solidFill>
              </a:rPr>
              <a:t>0.08596 individuals per homicide. </a:t>
            </a:r>
            <a:endParaRPr b="1">
              <a:solidFill>
                <a:srgbClr val="990000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62" name="Google Shape;162;p21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" name="Google Shape;163;p21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Model 1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Results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64" name="Google Shape;164;p21"/>
          <p:cNvPicPr preferRelativeResize="0"/>
          <p:nvPr/>
        </p:nvPicPr>
        <p:blipFill rotWithShape="1">
          <a:blip r:embed="rId3">
            <a:alphaModFix/>
          </a:blip>
          <a:srcRect l="1594"/>
          <a:stretch/>
        </p:blipFill>
        <p:spPr>
          <a:xfrm>
            <a:off x="2239800" y="664650"/>
            <a:ext cx="4718526" cy="2623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" name="Google Shape;165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Google Shape;166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Google Shape;167;p21"/>
          <p:cNvSpPr/>
          <p:nvPr/>
        </p:nvSpPr>
        <p:spPr>
          <a:xfrm>
            <a:off x="3115225" y="2808875"/>
            <a:ext cx="766200" cy="153000"/>
          </a:xfrm>
          <a:prstGeom prst="ellipse">
            <a:avLst/>
          </a:prstGeom>
          <a:noFill/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22"/>
          <p:cNvSpPr/>
          <p:nvPr/>
        </p:nvSpPr>
        <p:spPr>
          <a:xfrm>
            <a:off x="0" y="5225"/>
            <a:ext cx="9144000" cy="5421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73" name="Google Shape;173;p22"/>
          <p:cNvSpPr txBox="1">
            <a:spLocks noGrp="1"/>
          </p:cNvSpPr>
          <p:nvPr>
            <p:ph type="title"/>
          </p:nvPr>
        </p:nvSpPr>
        <p:spPr>
          <a:xfrm>
            <a:off x="38525" y="20525"/>
            <a:ext cx="8115000" cy="4818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F1C232"/>
                </a:solidFill>
              </a:rPr>
              <a:t>Parallel Trends - DiD Model 2</a:t>
            </a:r>
            <a:endParaRPr sz="2400" b="1">
              <a:solidFill>
                <a:srgbClr val="F1C232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F1C232"/>
              </a:solidFill>
            </a:endParaRPr>
          </a:p>
        </p:txBody>
      </p:sp>
      <p:sp>
        <p:nvSpPr>
          <p:cNvPr id="174" name="Google Shape;174;p22"/>
          <p:cNvSpPr txBox="1"/>
          <p:nvPr/>
        </p:nvSpPr>
        <p:spPr>
          <a:xfrm>
            <a:off x="829488" y="699725"/>
            <a:ext cx="7485000" cy="9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Parallel Trends in Illinois and North Carolina </a:t>
            </a:r>
            <a:r>
              <a:rPr lang="en" sz="1800" b="1" i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 </a:t>
            </a: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gun law</a:t>
            </a:r>
            <a:endParaRPr sz="18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75" name="Google Shape;175;p2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39300" y="1256850"/>
            <a:ext cx="5665403" cy="3104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" name="Google Shape;177;p2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23"/>
          <p:cNvSpPr txBox="1"/>
          <p:nvPr/>
        </p:nvSpPr>
        <p:spPr>
          <a:xfrm>
            <a:off x="2525750" y="-36750"/>
            <a:ext cx="6618300" cy="5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Victim_Count = 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+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 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 +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C + 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*NC+µ</a:t>
            </a: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83" name="Google Shape;183;p23"/>
          <p:cNvSpPr/>
          <p:nvPr/>
        </p:nvSpPr>
        <p:spPr>
          <a:xfrm>
            <a:off x="0" y="-8400"/>
            <a:ext cx="2469300" cy="607800"/>
          </a:xfrm>
          <a:prstGeom prst="homePlat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/>
          </a:p>
        </p:txBody>
      </p:sp>
      <p:sp>
        <p:nvSpPr>
          <p:cNvPr id="184" name="Google Shape;184;p23"/>
          <p:cNvSpPr txBox="1"/>
          <p:nvPr/>
        </p:nvSpPr>
        <p:spPr>
          <a:xfrm>
            <a:off x="42450" y="57750"/>
            <a:ext cx="2172000" cy="47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NC vs. IL Model</a:t>
            </a:r>
            <a:endParaRPr sz="17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85" name="Google Shape;185;p2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2625" y="1265775"/>
            <a:ext cx="5257726" cy="331345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86;p23"/>
          <p:cNvSpPr txBox="1"/>
          <p:nvPr/>
        </p:nvSpPr>
        <p:spPr>
          <a:xfrm>
            <a:off x="5676100" y="1682150"/>
            <a:ext cx="2832900" cy="248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rol Group: Illinoi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65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reatment Group: North Carolina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100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89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 Change in 1995</a:t>
            </a: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87" name="Google Shape;187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8" name="Google Shape;188;p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12738" y="874350"/>
            <a:ext cx="4718526" cy="23266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24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5" name="Google Shape;195;p24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Model 2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Results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96" name="Google Shape;196;p2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7" name="Google Shape;197;p2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  <p:sp>
        <p:nvSpPr>
          <p:cNvPr id="198" name="Google Shape;198;p24"/>
          <p:cNvSpPr/>
          <p:nvPr/>
        </p:nvSpPr>
        <p:spPr>
          <a:xfrm>
            <a:off x="3110750" y="2785150"/>
            <a:ext cx="766200" cy="148200"/>
          </a:xfrm>
          <a:prstGeom prst="ellipse">
            <a:avLst/>
          </a:prstGeom>
          <a:noFill/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p24"/>
          <p:cNvSpPr txBox="1"/>
          <p:nvPr/>
        </p:nvSpPr>
        <p:spPr>
          <a:xfrm>
            <a:off x="1296163" y="3297175"/>
            <a:ext cx="6551700" cy="58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990000"/>
                </a:solidFill>
              </a:rPr>
              <a:t>Based on the results above</a:t>
            </a:r>
            <a:r>
              <a:rPr lang="en" b="1">
                <a:solidFill>
                  <a:srgbClr val="990000"/>
                </a:solidFill>
              </a:rPr>
              <a:t>, the isolated effect </a:t>
            </a:r>
            <a:r>
              <a:rPr lang="en">
                <a:solidFill>
                  <a:srgbClr val="990000"/>
                </a:solidFill>
              </a:rPr>
              <a:t>of change in legislation from no issue to shall issue is an increase in average victim count of </a:t>
            </a:r>
            <a:endParaRPr>
              <a:solidFill>
                <a:srgbClr val="990000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</a:rPr>
              <a:t>0.003734 individuals per homicide</a:t>
            </a:r>
            <a:r>
              <a:rPr lang="en">
                <a:solidFill>
                  <a:srgbClr val="990000"/>
                </a:solidFill>
              </a:rPr>
              <a:t>. </a:t>
            </a:r>
            <a:endParaRPr>
              <a:solidFill>
                <a:srgbClr val="99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5"/>
          <p:cNvSpPr/>
          <p:nvPr/>
        </p:nvSpPr>
        <p:spPr>
          <a:xfrm>
            <a:off x="0" y="0"/>
            <a:ext cx="9161100" cy="24846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</a:endParaRPr>
          </a:p>
        </p:txBody>
      </p:sp>
      <p:sp>
        <p:nvSpPr>
          <p:cNvPr id="205" name="Google Shape;205;p25"/>
          <p:cNvSpPr txBox="1">
            <a:spLocks noGrp="1"/>
          </p:cNvSpPr>
          <p:nvPr>
            <p:ph type="title" idx="4294967295"/>
          </p:nvPr>
        </p:nvSpPr>
        <p:spPr>
          <a:xfrm>
            <a:off x="235500" y="1849650"/>
            <a:ext cx="8520600" cy="733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500" b="1">
                <a:solidFill>
                  <a:srgbClr val="F1C232"/>
                </a:solidFill>
              </a:rPr>
              <a:t>Thank You</a:t>
            </a:r>
            <a:endParaRPr sz="3500">
              <a:solidFill>
                <a:srgbClr val="EFEFEF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220500" y="58014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 dirty="0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Facts</a:t>
            </a:r>
            <a:endParaRPr sz="2500" b="1" dirty="0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37028" y="3067450"/>
            <a:ext cx="2815851" cy="2815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B23ACA-69F1-4BF2-A576-292B5441E9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495" y="3067450"/>
            <a:ext cx="4497305" cy="182317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442518-739C-4F3A-B3E2-B5313E52ACEE}"/>
              </a:ext>
            </a:extLst>
          </p:cNvPr>
          <p:cNvSpPr txBox="1"/>
          <p:nvPr/>
        </p:nvSpPr>
        <p:spPr>
          <a:xfrm>
            <a:off x="2066218" y="517436"/>
            <a:ext cx="226176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Gun violence takes many forms such as suicides, homicides, police shootings, etc. One third of Gun deaths are homicid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6290A5-36C7-4CE6-B57D-52FCF57471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658" y="1584959"/>
            <a:ext cx="3610701" cy="19735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B1FF7D-2278-4212-805B-306AC5CD628F}"/>
              </a:ext>
            </a:extLst>
          </p:cNvPr>
          <p:cNvSpPr txBox="1"/>
          <p:nvPr/>
        </p:nvSpPr>
        <p:spPr>
          <a:xfrm>
            <a:off x="4322495" y="2185824"/>
            <a:ext cx="21455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Black / African American population in the US is just around 13% yet they are affected disproportionately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1BE05A-FB82-4C87-852D-D12A3B3AA3EC}"/>
              </a:ext>
            </a:extLst>
          </p:cNvPr>
          <p:cNvSpPr txBox="1"/>
          <p:nvPr/>
        </p:nvSpPr>
        <p:spPr>
          <a:xfrm>
            <a:off x="2206082" y="3840454"/>
            <a:ext cx="15410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merica leads in gun violence among high income nations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894C0E-F51D-4723-9BF0-876F4D5CD2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7623" y="95929"/>
            <a:ext cx="3679552" cy="1973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403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5"/>
          <p:cNvSpPr/>
          <p:nvPr/>
        </p:nvSpPr>
        <p:spPr>
          <a:xfrm>
            <a:off x="936" y="1"/>
            <a:ext cx="1089900" cy="42132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89" name="Google Shape;89;p15"/>
          <p:cNvSpPr/>
          <p:nvPr/>
        </p:nvSpPr>
        <p:spPr>
          <a:xfrm>
            <a:off x="0" y="421340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90" name="Google Shape;90;p15"/>
          <p:cNvSpPr txBox="1">
            <a:spLocks noGrp="1"/>
          </p:cNvSpPr>
          <p:nvPr>
            <p:ph type="title"/>
          </p:nvPr>
        </p:nvSpPr>
        <p:spPr>
          <a:xfrm>
            <a:off x="65100" y="4483650"/>
            <a:ext cx="8456400" cy="45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F1C232"/>
                </a:solidFill>
              </a:rPr>
              <a:t>Concealed Carry</a:t>
            </a:r>
            <a:endParaRPr>
              <a:solidFill>
                <a:srgbClr val="F1C232"/>
              </a:solidFill>
            </a:endParaRPr>
          </a:p>
        </p:txBody>
      </p:sp>
      <p:grpSp>
        <p:nvGrpSpPr>
          <p:cNvPr id="91" name="Google Shape;91;p15"/>
          <p:cNvGrpSpPr/>
          <p:nvPr/>
        </p:nvGrpSpPr>
        <p:grpSpPr>
          <a:xfrm>
            <a:off x="-39676" y="147"/>
            <a:ext cx="6505906" cy="1035728"/>
            <a:chOff x="3728375" y="2322568"/>
            <a:chExt cx="4294611" cy="643669"/>
          </a:xfrm>
        </p:grpSpPr>
        <p:sp>
          <p:nvSpPr>
            <p:cNvPr id="92" name="Google Shape;92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/>
            </a:p>
          </p:txBody>
        </p:sp>
        <p:sp>
          <p:nvSpPr>
            <p:cNvPr id="93" name="Google Shape;93;p15"/>
            <p:cNvSpPr/>
            <p:nvPr/>
          </p:nvSpPr>
          <p:spPr>
            <a:xfrm>
              <a:off x="3755154" y="2323625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94" name="Google Shape;94;p15"/>
            <p:cNvSpPr/>
            <p:nvPr/>
          </p:nvSpPr>
          <p:spPr>
            <a:xfrm>
              <a:off x="4499186" y="2323937"/>
              <a:ext cx="35238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National Controversy and Second Amendment Rights</a:t>
              </a:r>
              <a:endParaRPr b="1">
                <a:solidFill>
                  <a:srgbClr val="990000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95" name="Google Shape;95;p15"/>
          <p:cNvGrpSpPr/>
          <p:nvPr/>
        </p:nvGrpSpPr>
        <p:grpSpPr>
          <a:xfrm>
            <a:off x="891" y="3163225"/>
            <a:ext cx="6579273" cy="1050238"/>
            <a:chOff x="3252150" y="2323741"/>
            <a:chExt cx="4343041" cy="652686"/>
          </a:xfrm>
        </p:grpSpPr>
        <p:sp>
          <p:nvSpPr>
            <p:cNvPr id="96" name="Google Shape;96;p15"/>
            <p:cNvSpPr/>
            <p:nvPr/>
          </p:nvSpPr>
          <p:spPr>
            <a:xfrm>
              <a:off x="3252150" y="2333827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97" name="Google Shape;97;p15"/>
            <p:cNvSpPr/>
            <p:nvPr/>
          </p:nvSpPr>
          <p:spPr>
            <a:xfrm>
              <a:off x="3971791" y="2323741"/>
              <a:ext cx="36234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Explore effect on Homicides</a:t>
              </a:r>
              <a:endParaRPr b="1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8" name="Google Shape;98;p15"/>
          <p:cNvGrpSpPr/>
          <p:nvPr/>
        </p:nvGrpSpPr>
        <p:grpSpPr>
          <a:xfrm>
            <a:off x="-39676" y="2099492"/>
            <a:ext cx="6619841" cy="1053801"/>
            <a:chOff x="3728375" y="2322568"/>
            <a:chExt cx="4369821" cy="654901"/>
          </a:xfrm>
        </p:grpSpPr>
        <p:sp>
          <p:nvSpPr>
            <p:cNvPr id="99" name="Google Shape;99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/>
            </a:p>
          </p:txBody>
        </p:sp>
        <p:sp>
          <p:nvSpPr>
            <p:cNvPr id="100" name="Google Shape;100;p15"/>
            <p:cNvSpPr/>
            <p:nvPr/>
          </p:nvSpPr>
          <p:spPr>
            <a:xfrm>
              <a:off x="3755154" y="2334869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101" name="Google Shape;101;p15"/>
            <p:cNvSpPr/>
            <p:nvPr/>
          </p:nvSpPr>
          <p:spPr>
            <a:xfrm>
              <a:off x="4474796" y="2323761"/>
              <a:ext cx="36234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 dirty="0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Look at Concealed Carry Legislation</a:t>
              </a:r>
              <a:endParaRPr b="1" dirty="0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2" name="Google Shape;102;p15"/>
          <p:cNvGrpSpPr/>
          <p:nvPr/>
        </p:nvGrpSpPr>
        <p:grpSpPr>
          <a:xfrm>
            <a:off x="1094" y="1128691"/>
            <a:ext cx="6579070" cy="1035660"/>
            <a:chOff x="3728375" y="2322568"/>
            <a:chExt cx="4288274" cy="643627"/>
          </a:xfrm>
        </p:grpSpPr>
        <p:sp>
          <p:nvSpPr>
            <p:cNvPr id="103" name="Google Shape;103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/>
            </a:p>
          </p:txBody>
        </p:sp>
        <p:sp>
          <p:nvSpPr>
            <p:cNvPr id="104" name="Google Shape;104;p15"/>
            <p:cNvSpPr/>
            <p:nvPr/>
          </p:nvSpPr>
          <p:spPr>
            <a:xfrm>
              <a:off x="3728381" y="2323595"/>
              <a:ext cx="710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105" name="Google Shape;105;p15"/>
            <p:cNvSpPr/>
            <p:nvPr/>
          </p:nvSpPr>
          <p:spPr>
            <a:xfrm>
              <a:off x="4438849" y="2323740"/>
              <a:ext cx="35778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 dirty="0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Debate Surrounding Gun Control</a:t>
              </a:r>
              <a:endParaRPr b="1" dirty="0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6" name="Google Shape;106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31839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07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21933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12789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59738"/>
            <a:ext cx="1089900" cy="11612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220500" y="-51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 dirty="0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History</a:t>
            </a:r>
            <a:endParaRPr sz="2500" b="1" dirty="0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6125" y="3296050"/>
            <a:ext cx="2815851" cy="2815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CB988E95-476C-4F71-AD2B-615A2E1CD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484" y="1576668"/>
            <a:ext cx="5943600" cy="2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1408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71856D-DF9C-479D-B099-8FE5E86E3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913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Google Shape;114;p16"/>
          <p:cNvSpPr txBox="1">
            <a:spLocks noGrp="1"/>
          </p:cNvSpPr>
          <p:nvPr>
            <p:ph type="title" idx="4294967295"/>
          </p:nvPr>
        </p:nvSpPr>
        <p:spPr>
          <a:xfrm rot="2498">
            <a:off x="1268999" y="1384551"/>
            <a:ext cx="6606002" cy="534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</a:rPr>
              <a:t>What effect does change in concealed carry legislation have on the number of victims seen due to gun violence?  </a:t>
            </a:r>
            <a:endParaRPr b="1">
              <a:solidFill>
                <a:srgbClr val="990000"/>
              </a:solidFill>
            </a:endParaRPr>
          </a:p>
        </p:txBody>
      </p:sp>
      <p:sp>
        <p:nvSpPr>
          <p:cNvPr id="115" name="Google Shape;115;p16"/>
          <p:cNvSpPr/>
          <p:nvPr/>
        </p:nvSpPr>
        <p:spPr>
          <a:xfrm>
            <a:off x="0" y="421340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16" name="Google Shape;116;p16"/>
          <p:cNvSpPr/>
          <p:nvPr/>
        </p:nvSpPr>
        <p:spPr>
          <a:xfrm>
            <a:off x="0" y="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pic>
        <p:nvPicPr>
          <p:cNvPr id="117" name="Google Shape;117;p1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263900" y="2395300"/>
            <a:ext cx="2443176" cy="24862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The </a:t>
            </a:r>
            <a:endParaRPr sz="25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Data</a:t>
            </a:r>
            <a:endParaRPr sz="25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24" name="Google Shape;124;p17"/>
          <p:cNvSpPr txBox="1"/>
          <p:nvPr/>
        </p:nvSpPr>
        <p:spPr>
          <a:xfrm>
            <a:off x="1670850" y="1204259"/>
            <a:ext cx="5802300" cy="36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Sourced from the Murder Accountability Projec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ains Homicide Data from all 50 States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Each Record - 1 Homicide Inciden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Focusing on Texas, Illinois, North Carolina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○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Focusing on Victim Coun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Key Terms:</a:t>
            </a:r>
            <a:endParaRPr sz="1800" b="1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○"/>
            </a:pPr>
            <a:r>
              <a:rPr lang="en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Shall Issue: </a:t>
            </a:r>
            <a:r>
              <a:rPr lang="en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f all requirements set by state law are met, concealed carry permit will be issued </a:t>
            </a:r>
            <a:endParaRPr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○"/>
            </a:pPr>
            <a:r>
              <a:rPr lang="en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 Issue: </a:t>
            </a:r>
            <a:r>
              <a:rPr lang="en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 issuance of concealed carry permits regardless of qualifications</a:t>
            </a:r>
            <a:endParaRPr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6125" y="3296050"/>
            <a:ext cx="2815851" cy="281585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8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18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Post-processed</a:t>
            </a:r>
            <a:endParaRPr sz="20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Data</a:t>
            </a:r>
            <a:endParaRPr sz="20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32" name="Google Shape;132;p18"/>
          <p:cNvSpPr txBox="1"/>
          <p:nvPr/>
        </p:nvSpPr>
        <p:spPr>
          <a:xfrm>
            <a:off x="1019200" y="976300"/>
            <a:ext cx="5802300" cy="36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Date Range:</a:t>
            </a: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 1990/2000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 vs. Illinois Data</a:t>
            </a: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3,427 Total Homicides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: 2,4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371600" lvl="2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Legislation in 19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llinois: 932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rth Carolina vs. Illinois Data</a:t>
            </a: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,736 Total Homicides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. Carolina: 804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371600" lvl="2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Legislation in 19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llinois: 932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33" name="Google Shape;133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18200" y="37825"/>
            <a:ext cx="1960551" cy="19605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97700" y="1412900"/>
            <a:ext cx="2071701" cy="2071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1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540350" y="2395275"/>
            <a:ext cx="3214725" cy="3214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9"/>
          <p:cNvSpPr/>
          <p:nvPr/>
        </p:nvSpPr>
        <p:spPr>
          <a:xfrm>
            <a:off x="0" y="5225"/>
            <a:ext cx="9144000" cy="5421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41" name="Google Shape;141;p19"/>
          <p:cNvSpPr txBox="1">
            <a:spLocks noGrp="1"/>
          </p:cNvSpPr>
          <p:nvPr>
            <p:ph type="title"/>
          </p:nvPr>
        </p:nvSpPr>
        <p:spPr>
          <a:xfrm>
            <a:off x="38525" y="20525"/>
            <a:ext cx="8115000" cy="4818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F1C232"/>
                </a:solidFill>
              </a:rPr>
              <a:t>Parallel Trends- DiD Model 1</a:t>
            </a:r>
            <a:endParaRPr sz="2400" b="1">
              <a:solidFill>
                <a:srgbClr val="F1C232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F1C232"/>
              </a:solidFill>
            </a:endParaRPr>
          </a:p>
        </p:txBody>
      </p:sp>
      <p:sp>
        <p:nvSpPr>
          <p:cNvPr id="142" name="Google Shape;142;p19"/>
          <p:cNvSpPr txBox="1"/>
          <p:nvPr/>
        </p:nvSpPr>
        <p:spPr>
          <a:xfrm>
            <a:off x="829488" y="699725"/>
            <a:ext cx="7485000" cy="9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Parallel Trends in Illinois and Texas </a:t>
            </a:r>
            <a:r>
              <a:rPr lang="en" sz="1800" b="1" i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 </a:t>
            </a: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gun law</a:t>
            </a:r>
            <a:endParaRPr sz="18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43" name="Google Shape;143;p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15549" y="1229925"/>
            <a:ext cx="5912902" cy="3234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Google Shape;144;p1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1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0"/>
          <p:cNvSpPr txBox="1"/>
          <p:nvPr/>
        </p:nvSpPr>
        <p:spPr>
          <a:xfrm>
            <a:off x="2525750" y="-36750"/>
            <a:ext cx="6618300" cy="5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Victim_Count = 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+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 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 +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 + 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*Texas +µ</a:t>
            </a: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51" name="Google Shape;151;p20"/>
          <p:cNvSpPr/>
          <p:nvPr/>
        </p:nvSpPr>
        <p:spPr>
          <a:xfrm>
            <a:off x="0" y="-8400"/>
            <a:ext cx="2469300" cy="607800"/>
          </a:xfrm>
          <a:prstGeom prst="homePlat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/>
          </a:p>
        </p:txBody>
      </p:sp>
      <p:sp>
        <p:nvSpPr>
          <p:cNvPr id="152" name="Google Shape;152;p20"/>
          <p:cNvSpPr txBox="1"/>
          <p:nvPr/>
        </p:nvSpPr>
        <p:spPr>
          <a:xfrm>
            <a:off x="42450" y="57750"/>
            <a:ext cx="2172000" cy="47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TX vs. IL Model</a:t>
            </a:r>
            <a:endParaRPr sz="17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53" name="Google Shape;153;p20"/>
          <p:cNvSpPr txBox="1"/>
          <p:nvPr/>
        </p:nvSpPr>
        <p:spPr>
          <a:xfrm>
            <a:off x="5931450" y="1331400"/>
            <a:ext cx="2469300" cy="248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rol Group: Illinoi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65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reatment Group: Texa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9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169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 Change in 1995</a:t>
            </a: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54" name="Google Shape;154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8650" y="1318450"/>
            <a:ext cx="5123225" cy="31850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Google Shape;155;p2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" name="Google Shape;156;p2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earmint">
  <a:themeElements>
    <a:clrScheme name="Spearmint">
      <a:dk1>
        <a:srgbClr val="202729"/>
      </a:dk1>
      <a:lt1>
        <a:srgbClr val="FFFFFF"/>
      </a:lt1>
      <a:dk2>
        <a:srgbClr val="4BA173"/>
      </a:dk2>
      <a:lt2>
        <a:srgbClr val="63D297"/>
      </a:lt2>
      <a:accent1>
        <a:srgbClr val="353744"/>
      </a:accent1>
      <a:accent2>
        <a:srgbClr val="424242"/>
      </a:accent2>
      <a:accent3>
        <a:srgbClr val="616161"/>
      </a:accent3>
      <a:accent4>
        <a:srgbClr val="999999"/>
      </a:accent4>
      <a:accent5>
        <a:srgbClr val="FF5252"/>
      </a:accent5>
      <a:accent6>
        <a:srgbClr val="FFF176"/>
      </a:accent6>
      <a:hlink>
        <a:srgbClr val="FF5252"/>
      </a:hlink>
      <a:folHlink>
        <a:srgbClr val="FF525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5</TotalTime>
  <Words>510</Words>
  <Application>Microsoft Office PowerPoint</Application>
  <PresentationFormat>On-screen Show (16:9)</PresentationFormat>
  <Paragraphs>91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Roboto</vt:lpstr>
      <vt:lpstr>Proxima Nova</vt:lpstr>
      <vt:lpstr>Arial</vt:lpstr>
      <vt:lpstr>Roboto Thin</vt:lpstr>
      <vt:lpstr>Calibri</vt:lpstr>
      <vt:lpstr>Spearmint</vt:lpstr>
      <vt:lpstr>think-cell Slide</vt:lpstr>
      <vt:lpstr>PowerPoint Presentation</vt:lpstr>
      <vt:lpstr>PowerPoint Presentation</vt:lpstr>
      <vt:lpstr>Concealed Carry</vt:lpstr>
      <vt:lpstr>PowerPoint Presentation</vt:lpstr>
      <vt:lpstr>What effect does change in concealed carry legislation have on the number of victims seen due to gun violence?  </vt:lpstr>
      <vt:lpstr>PowerPoint Presentation</vt:lpstr>
      <vt:lpstr>PowerPoint Presentation</vt:lpstr>
      <vt:lpstr>Parallel Trends- DiD Model 1 </vt:lpstr>
      <vt:lpstr>PowerPoint Presentation</vt:lpstr>
      <vt:lpstr>PowerPoint Presentation</vt:lpstr>
      <vt:lpstr>Parallel Trends - DiD Model 2 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Gottipati, Amit Venkateswarlu</cp:lastModifiedBy>
  <cp:revision>10</cp:revision>
  <dcterms:modified xsi:type="dcterms:W3CDTF">2021-01-24T21:38:35Z</dcterms:modified>
</cp:coreProperties>
</file>